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D$2:$D$228</c:f>
              <c:numCache>
                <c:formatCode>#,##0</c:formatCode>
                <c:ptCount val="227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0</c:v>
                </c:pt>
                <c:pt idx="182">
                  <c:v>797</c:v>
                </c:pt>
                <c:pt idx="183">
                  <c:v>803</c:v>
                </c:pt>
                <c:pt idx="184">
                  <c:v>824</c:v>
                </c:pt>
                <c:pt idx="185">
                  <c:v>839</c:v>
                </c:pt>
                <c:pt idx="186">
                  <c:v>849</c:v>
                </c:pt>
                <c:pt idx="187">
                  <c:v>868</c:v>
                </c:pt>
                <c:pt idx="188">
                  <c:v>916</c:v>
                </c:pt>
                <c:pt idx="189">
                  <c:v>906</c:v>
                </c:pt>
                <c:pt idx="190">
                  <c:v>915</c:v>
                </c:pt>
                <c:pt idx="191">
                  <c:v>916</c:v>
                </c:pt>
                <c:pt idx="192">
                  <c:v>927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6</c:v>
                </c:pt>
                <c:pt idx="197">
                  <c:v>925</c:v>
                </c:pt>
                <c:pt idx="198">
                  <c:v>952</c:v>
                </c:pt>
                <c:pt idx="199">
                  <c:v>944</c:v>
                </c:pt>
                <c:pt idx="200">
                  <c:v>940</c:v>
                </c:pt>
                <c:pt idx="201">
                  <c:v>935</c:v>
                </c:pt>
                <c:pt idx="202">
                  <c:v>973</c:v>
                </c:pt>
                <c:pt idx="203">
                  <c:v>932</c:v>
                </c:pt>
                <c:pt idx="204">
                  <c:v>923</c:v>
                </c:pt>
                <c:pt idx="207">
                  <c:v>880</c:v>
                </c:pt>
                <c:pt idx="208">
                  <c:v>865</c:v>
                </c:pt>
                <c:pt idx="209">
                  <c:v>869</c:v>
                </c:pt>
                <c:pt idx="210">
                  <c:v>843</c:v>
                </c:pt>
                <c:pt idx="211">
                  <c:v>814</c:v>
                </c:pt>
                <c:pt idx="212">
                  <c:v>794</c:v>
                </c:pt>
                <c:pt idx="213">
                  <c:v>765</c:v>
                </c:pt>
                <c:pt idx="214">
                  <c:v>728</c:v>
                </c:pt>
                <c:pt idx="215">
                  <c:v>717</c:v>
                </c:pt>
                <c:pt idx="216">
                  <c:v>713</c:v>
                </c:pt>
                <c:pt idx="217">
                  <c:v>737</c:v>
                </c:pt>
                <c:pt idx="218">
                  <c:v>713</c:v>
                </c:pt>
                <c:pt idx="219">
                  <c:v>678</c:v>
                </c:pt>
                <c:pt idx="220">
                  <c:v>641</c:v>
                </c:pt>
                <c:pt idx="221">
                  <c:v>618</c:v>
                </c:pt>
                <c:pt idx="222">
                  <c:v>616</c:v>
                </c:pt>
                <c:pt idx="223">
                  <c:v>606</c:v>
                </c:pt>
                <c:pt idx="224">
                  <c:v>588</c:v>
                </c:pt>
                <c:pt idx="225">
                  <c:v>554</c:v>
                </c:pt>
                <c:pt idx="226">
                  <c:v>5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B$2:$B$228</c:f>
              <c:numCache>
                <c:formatCode>#,##0</c:formatCode>
                <c:ptCount val="227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C$2:$C$228</c:f>
              <c:numCache>
                <c:formatCode>#,##0</c:formatCode>
                <c:ptCount val="2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D$2:$D$228</c:f>
              <c:numCache>
                <c:formatCode>#,##0</c:formatCode>
                <c:ptCount val="227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4</c:v>
                </c:pt>
                <c:pt idx="113">
                  <c:v>1737</c:v>
                </c:pt>
                <c:pt idx="114">
                  <c:v>1645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4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3</c:v>
                </c:pt>
                <c:pt idx="173">
                  <c:v>2805</c:v>
                </c:pt>
                <c:pt idx="174">
                  <c:v>2999</c:v>
                </c:pt>
                <c:pt idx="175">
                  <c:v>3018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4</c:v>
                </c:pt>
                <c:pt idx="182">
                  <c:v>3619</c:v>
                </c:pt>
                <c:pt idx="183">
                  <c:v>3595</c:v>
                </c:pt>
                <c:pt idx="184">
                  <c:v>3678</c:v>
                </c:pt>
                <c:pt idx="185">
                  <c:v>3705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2</c:v>
                </c:pt>
                <c:pt idx="190">
                  <c:v>3955</c:v>
                </c:pt>
                <c:pt idx="191">
                  <c:v>3927</c:v>
                </c:pt>
                <c:pt idx="192">
                  <c:v>3863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6</c:v>
                </c:pt>
                <c:pt idx="198">
                  <c:v>3998</c:v>
                </c:pt>
                <c:pt idx="199">
                  <c:v>3795</c:v>
                </c:pt>
                <c:pt idx="200">
                  <c:v>3724</c:v>
                </c:pt>
                <c:pt idx="201">
                  <c:v>3801</c:v>
                </c:pt>
                <c:pt idx="202">
                  <c:v>3819</c:v>
                </c:pt>
                <c:pt idx="203">
                  <c:v>3690</c:v>
                </c:pt>
                <c:pt idx="204">
                  <c:v>3545</c:v>
                </c:pt>
                <c:pt idx="207">
                  <c:v>3359</c:v>
                </c:pt>
                <c:pt idx="208">
                  <c:v>3389</c:v>
                </c:pt>
                <c:pt idx="209">
                  <c:v>3359</c:v>
                </c:pt>
                <c:pt idx="210">
                  <c:v>3281</c:v>
                </c:pt>
                <c:pt idx="211">
                  <c:v>3149</c:v>
                </c:pt>
                <c:pt idx="212">
                  <c:v>3002</c:v>
                </c:pt>
                <c:pt idx="213">
                  <c:v>2818</c:v>
                </c:pt>
                <c:pt idx="214">
                  <c:v>2773</c:v>
                </c:pt>
                <c:pt idx="215">
                  <c:v>2834</c:v>
                </c:pt>
                <c:pt idx="216">
                  <c:v>2847</c:v>
                </c:pt>
                <c:pt idx="217">
                  <c:v>3049</c:v>
                </c:pt>
                <c:pt idx="218">
                  <c:v>2870</c:v>
                </c:pt>
                <c:pt idx="219">
                  <c:v>2696</c:v>
                </c:pt>
                <c:pt idx="220">
                  <c:v>2425</c:v>
                </c:pt>
                <c:pt idx="221">
                  <c:v>2338</c:v>
                </c:pt>
                <c:pt idx="222">
                  <c:v>2352</c:v>
                </c:pt>
                <c:pt idx="223">
                  <c:v>2345</c:v>
                </c:pt>
                <c:pt idx="224">
                  <c:v>2249</c:v>
                </c:pt>
                <c:pt idx="225">
                  <c:v>2125</c:v>
                </c:pt>
                <c:pt idx="226">
                  <c:v>1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6"/>
              <c:layout>
                <c:manualLayout>
                  <c:x val="-8.4504880832907154E-8"/>
                  <c:y val="-4.9396283362822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B$2:$B$228</c:f>
              <c:numCache>
                <c:formatCode>#,##0</c:formatCode>
                <c:ptCount val="227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C$2:$C$228</c:f>
              <c:numCache>
                <c:formatCode>#,##0</c:formatCode>
                <c:ptCount val="2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D$2:$D$228</c:f>
              <c:numCache>
                <c:formatCode>#,##0</c:formatCode>
                <c:ptCount val="227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4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2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4</c:v>
                </c:pt>
                <c:pt idx="118">
                  <c:v>904</c:v>
                </c:pt>
                <c:pt idx="119">
                  <c:v>939</c:v>
                </c:pt>
                <c:pt idx="120">
                  <c:v>954</c:v>
                </c:pt>
                <c:pt idx="121">
                  <c:v>970</c:v>
                </c:pt>
                <c:pt idx="122">
                  <c:v>947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6</c:v>
                </c:pt>
                <c:pt idx="166">
                  <c:v>1147</c:v>
                </c:pt>
                <c:pt idx="167">
                  <c:v>1171</c:v>
                </c:pt>
                <c:pt idx="168">
                  <c:v>1214</c:v>
                </c:pt>
                <c:pt idx="169">
                  <c:v>1242</c:v>
                </c:pt>
                <c:pt idx="170">
                  <c:v>1267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4</c:v>
                </c:pt>
                <c:pt idx="182">
                  <c:v>1595</c:v>
                </c:pt>
                <c:pt idx="183">
                  <c:v>1622</c:v>
                </c:pt>
                <c:pt idx="184">
                  <c:v>1648</c:v>
                </c:pt>
                <c:pt idx="185">
                  <c:v>1668</c:v>
                </c:pt>
                <c:pt idx="186">
                  <c:v>1672</c:v>
                </c:pt>
                <c:pt idx="187">
                  <c:v>1675</c:v>
                </c:pt>
                <c:pt idx="188">
                  <c:v>1770</c:v>
                </c:pt>
                <c:pt idx="189">
                  <c:v>1800</c:v>
                </c:pt>
                <c:pt idx="190">
                  <c:v>1831</c:v>
                </c:pt>
                <c:pt idx="191">
                  <c:v>1820</c:v>
                </c:pt>
                <c:pt idx="192">
                  <c:v>1831</c:v>
                </c:pt>
                <c:pt idx="193">
                  <c:v>1779</c:v>
                </c:pt>
                <c:pt idx="194">
                  <c:v>1826</c:v>
                </c:pt>
                <c:pt idx="195">
                  <c:v>1884</c:v>
                </c:pt>
                <c:pt idx="196">
                  <c:v>1891</c:v>
                </c:pt>
                <c:pt idx="197">
                  <c:v>1860</c:v>
                </c:pt>
                <c:pt idx="198">
                  <c:v>1861</c:v>
                </c:pt>
                <c:pt idx="199">
                  <c:v>1820</c:v>
                </c:pt>
                <c:pt idx="200">
                  <c:v>1782</c:v>
                </c:pt>
                <c:pt idx="201">
                  <c:v>1806</c:v>
                </c:pt>
                <c:pt idx="202">
                  <c:v>1825</c:v>
                </c:pt>
                <c:pt idx="203">
                  <c:v>1779</c:v>
                </c:pt>
                <c:pt idx="204">
                  <c:v>1747</c:v>
                </c:pt>
                <c:pt idx="207">
                  <c:v>1651</c:v>
                </c:pt>
                <c:pt idx="208">
                  <c:v>1659</c:v>
                </c:pt>
                <c:pt idx="209">
                  <c:v>1668</c:v>
                </c:pt>
                <c:pt idx="210">
                  <c:v>1619</c:v>
                </c:pt>
                <c:pt idx="211">
                  <c:v>1558</c:v>
                </c:pt>
                <c:pt idx="212">
                  <c:v>1513</c:v>
                </c:pt>
                <c:pt idx="213">
                  <c:v>1428</c:v>
                </c:pt>
                <c:pt idx="214">
                  <c:v>1402</c:v>
                </c:pt>
                <c:pt idx="215">
                  <c:v>1382</c:v>
                </c:pt>
                <c:pt idx="216">
                  <c:v>1353</c:v>
                </c:pt>
                <c:pt idx="217">
                  <c:v>1407</c:v>
                </c:pt>
                <c:pt idx="218">
                  <c:v>1378</c:v>
                </c:pt>
                <c:pt idx="219">
                  <c:v>1330</c:v>
                </c:pt>
                <c:pt idx="220">
                  <c:v>1254</c:v>
                </c:pt>
                <c:pt idx="221">
                  <c:v>1239</c:v>
                </c:pt>
                <c:pt idx="222">
                  <c:v>1222</c:v>
                </c:pt>
                <c:pt idx="223">
                  <c:v>1207</c:v>
                </c:pt>
                <c:pt idx="224">
                  <c:v>1185</c:v>
                </c:pt>
                <c:pt idx="225">
                  <c:v>1144</c:v>
                </c:pt>
                <c:pt idx="226">
                  <c:v>1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8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B$2:$B$228</c:f>
              <c:numCache>
                <c:formatCode>#,##0</c:formatCode>
                <c:ptCount val="227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C$2:$C$228</c:f>
              <c:numCache>
                <c:formatCode>#,##0</c:formatCode>
                <c:ptCount val="2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D$2:$D$228</c:f>
              <c:numCache>
                <c:formatCode>#,##0</c:formatCode>
                <c:ptCount val="22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0</c:v>
                </c:pt>
                <c:pt idx="225">
                  <c:v>20</c:v>
                </c:pt>
                <c:pt idx="226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B$2:$B$228</c:f>
              <c:numCache>
                <c:formatCode>#,##0</c:formatCode>
                <c:ptCount val="227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8</c:f>
              <c:numCache>
                <c:formatCode>m/d/yyyy</c:formatCode>
                <c:ptCount val="227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</c:numCache>
            </c:numRef>
          </c:cat>
          <c:val>
            <c:numRef>
              <c:f>Sheet1!$C$2:$C$228</c:f>
              <c:numCache>
                <c:formatCode>#,##0</c:formatCode>
                <c:ptCount val="2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6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6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6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6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185510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603535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6026111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8059147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37836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46647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4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5</cp:revision>
  <dcterms:created xsi:type="dcterms:W3CDTF">2020-08-08T14:25:07Z</dcterms:created>
  <dcterms:modified xsi:type="dcterms:W3CDTF">2021-04-16T03:17:03Z</dcterms:modified>
</cp:coreProperties>
</file>